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7"/>
  </p:notesMasterIdLst>
  <p:handoutMasterIdLst>
    <p:handoutMasterId r:id="rId8"/>
  </p:handoutMasterIdLst>
  <p:sldIdLst>
    <p:sldId id="469" r:id="rId5"/>
    <p:sldId id="470" r:id="rId6"/>
  </p:sldIdLst>
  <p:sldSz cx="9144000" cy="6858000" type="screen4x3"/>
  <p:notesSz cx="7010400" cy="9296400"/>
  <p:defaultTextStyle>
    <a:defPPr>
      <a:defRPr lang="en-US"/>
    </a:defPPr>
    <a:lvl1pPr marL="0" algn="l" defTabSz="9140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16" algn="l" defTabSz="9140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34" algn="l" defTabSz="9140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049" algn="l" defTabSz="9140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068" algn="l" defTabSz="9140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083" algn="l" defTabSz="9140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100" algn="l" defTabSz="9140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116" algn="l" defTabSz="9140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132" algn="l" defTabSz="9140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17D79BA-7EB7-457E-8729-24AA440F9D96}">
          <p14:sldIdLst/>
        </p14:section>
        <p14:section name="Untitled Section" id="{7A38E362-414F-4FEC-9FE8-ABA7F69CC70E}">
          <p14:sldIdLst>
            <p14:sldId id="469"/>
            <p14:sldId id="4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34" autoAdjust="0"/>
    <p:restoredTop sz="94660"/>
  </p:normalViewPr>
  <p:slideViewPr>
    <p:cSldViewPr>
      <p:cViewPr varScale="1">
        <p:scale>
          <a:sx n="95" d="100"/>
          <a:sy n="95" d="100"/>
        </p:scale>
        <p:origin x="1410" y="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3644BE-F990-4061-B46F-2724DCDE26FC}" type="datetimeFigureOut">
              <a:rPr lang="en-US" smtClean="0"/>
              <a:t>4/1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675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3C304C-0524-4FB3-8D6E-A8C9C5819E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84655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13939D-F76C-4611-8D3F-8F032F13967A}" type="datetimeFigureOut">
              <a:rPr lang="en-US" smtClean="0"/>
              <a:t>4/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7A231E-7C7D-4C40-A51C-CFBFEEF19C3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4932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16" algn="l" defTabSz="9140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34" algn="l" defTabSz="9140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049" algn="l" defTabSz="9140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068" algn="l" defTabSz="9140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083" algn="l" defTabSz="9140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100" algn="l" defTabSz="9140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116" algn="l" defTabSz="9140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132" algn="l" defTabSz="9140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/>
          </a:p>
        </p:txBody>
      </p:sp>
      <p:sp>
        <p:nvSpPr>
          <p:cNvPr id="33796" name="Slide Number Placeholder 3"/>
          <p:cNvSpPr txBox="1">
            <a:spLocks noGrp="1"/>
          </p:cNvSpPr>
          <p:nvPr/>
        </p:nvSpPr>
        <p:spPr bwMode="auto">
          <a:xfrm>
            <a:off x="3970735" y="8829124"/>
            <a:ext cx="3038145" cy="465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288" tIns="46143" rIns="92288" bIns="46143" anchor="b"/>
          <a:lstStyle>
            <a:lvl1pPr>
              <a:defRPr sz="28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C9ABB4B9-357C-42A1-B2A4-45E758714138}" type="slidenum">
              <a:rPr lang="en-US" altLang="en-US" sz="1300">
                <a:solidFill>
                  <a:prstClr val="black"/>
                </a:solidFill>
                <a:latin typeface="Arial" charset="0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altLang="en-US" sz="1300" dirty="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4821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/>
          </a:p>
        </p:txBody>
      </p:sp>
      <p:sp>
        <p:nvSpPr>
          <p:cNvPr id="33796" name="Slide Number Placeholder 3"/>
          <p:cNvSpPr txBox="1">
            <a:spLocks noGrp="1"/>
          </p:cNvSpPr>
          <p:nvPr/>
        </p:nvSpPr>
        <p:spPr bwMode="auto">
          <a:xfrm>
            <a:off x="3970735" y="8829124"/>
            <a:ext cx="3038145" cy="465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288" tIns="46143" rIns="92288" bIns="46143" anchor="b"/>
          <a:lstStyle>
            <a:lvl1pPr>
              <a:defRPr sz="28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C9ABB4B9-357C-42A1-B2A4-45E758714138}" type="slidenum">
              <a:rPr lang="en-US" altLang="en-US" sz="1300">
                <a:solidFill>
                  <a:prstClr val="black"/>
                </a:solidFill>
                <a:latin typeface="Arial" charset="0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altLang="en-US" sz="1300" dirty="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90975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2.jpeg"/><Relationship Id="rId7" Type="http://schemas.openxmlformats.org/officeDocument/2006/relationships/image" Target="../media/image5.jpeg"/><Relationship Id="rId12" Type="http://schemas.openxmlformats.org/officeDocument/2006/relationships/image" Target="../media/image9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jpeg"/><Relationship Id="rId11" Type="http://schemas.openxmlformats.org/officeDocument/2006/relationships/image" Target="../media/image8.jpeg"/><Relationship Id="rId5" Type="http://schemas.microsoft.com/office/2007/relationships/hdphoto" Target="../media/hdphoto1.wdp"/><Relationship Id="rId10" Type="http://schemas.openxmlformats.org/officeDocument/2006/relationships/image" Target="../media/image7.jpeg"/><Relationship Id="rId4" Type="http://schemas.openxmlformats.org/officeDocument/2006/relationships/image" Target="../media/image3.jpeg"/><Relationship Id="rId9" Type="http://schemas.openxmlformats.org/officeDocument/2006/relationships/image" Target="../media/image6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569"/>
            <a:ext cx="64008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276999"/>
          </a:xfr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RT/OPICC                            ORC 4115 PRESENTATION                 JANUARY 2021                           </a:t>
            </a:r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276999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41ADA7-EE6D-49A1-BB18-5215005969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4/1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276999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836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3363" y="525189"/>
            <a:ext cx="7817453" cy="600164"/>
          </a:xfrm>
        </p:spPr>
        <p:txBody>
          <a:bodyPr lIns="0" tIns="0" rIns="0" bIns="0"/>
          <a:lstStyle>
            <a:lvl1pPr>
              <a:defRPr sz="3900" b="1" i="0">
                <a:solidFill>
                  <a:srgbClr val="0C74CC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63274" y="2812207"/>
            <a:ext cx="4626230" cy="202189"/>
          </a:xfrm>
        </p:spPr>
        <p:txBody>
          <a:bodyPr lIns="0" tIns="0" rIns="0" bIns="0"/>
          <a:lstStyle>
            <a:lvl1pPr>
              <a:defRPr sz="1300" b="1" i="0">
                <a:solidFill>
                  <a:srgbClr val="58595B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276999"/>
          </a:xfr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RT/OPICC                            ORC 4115 PRESENTATION                 JANUARY 2021                           </a:t>
            </a:r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276999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92B79F-37E4-4BCB-A38D-6318DF34586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4/1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276999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09958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3363" y="525189"/>
            <a:ext cx="7817453" cy="600164"/>
          </a:xfrm>
        </p:spPr>
        <p:txBody>
          <a:bodyPr lIns="0" tIns="0" rIns="0" bIns="0"/>
          <a:lstStyle>
            <a:lvl1pPr>
              <a:defRPr sz="3900" b="1" i="0">
                <a:solidFill>
                  <a:srgbClr val="0C74CC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429"/>
            <a:ext cx="397764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429"/>
            <a:ext cx="397764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276999"/>
          </a:xfr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RT/OPICC                            ORC 4115 PRESENTATION                 JANUARY 2021                           </a:t>
            </a:r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276999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F66D31-5835-4A3E-A48F-F2CC78231E8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4/1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276999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3285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3363" y="525189"/>
            <a:ext cx="7817453" cy="600164"/>
          </a:xfrm>
        </p:spPr>
        <p:txBody>
          <a:bodyPr lIns="0" tIns="0" rIns="0" bIns="0"/>
          <a:lstStyle>
            <a:lvl1pPr>
              <a:defRPr sz="3900" b="1" i="0">
                <a:solidFill>
                  <a:srgbClr val="0C74CC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276999"/>
          </a:xfr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RT/OPICC                            ORC 4115 PRESENTATION                 JANUARY 2021                           </a:t>
            </a:r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276999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ECCD28-EAAE-4B21-9E50-4533C401CA9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4/1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276999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9715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276999"/>
          </a:xfr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RT/OPICC                            ORC 4115 PRESENTATION                 JANUARY 2021                           </a:t>
            </a:r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276999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40C08D-5952-41D7-B42D-D65A193CBCE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4/1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276999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6821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082801" y="1562103"/>
            <a:ext cx="4978400" cy="3733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1767" tIns="50872" rIns="101767" bIns="50872" rtlCol="0" anchor="ctr"/>
          <a:lstStyle/>
          <a:p>
            <a:pPr algn="ctr" defTabSz="298555"/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82801" y="4192277"/>
            <a:ext cx="4978400" cy="1103628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rgbClr val="FFFFFF"/>
                </a:solidFill>
              </a:defRPr>
            </a:lvl1pPr>
            <a:lvl2pPr marL="508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7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6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5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45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34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2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1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 descr="ClevelandSciptLogoSM_Whit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87620" y="1640168"/>
            <a:ext cx="2989588" cy="1898899"/>
          </a:xfrm>
          <a:prstGeom prst="rect">
            <a:avLst/>
          </a:prstGeom>
        </p:spPr>
      </p:pic>
      <p:pic>
        <p:nvPicPr>
          <p:cNvPr id="4" name="Picture 3" descr="_R6Q1477_RT.jp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" y="1562193"/>
            <a:ext cx="2082799" cy="373380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624" t="10026" r="3765" b="10026"/>
          <a:stretch/>
        </p:blipFill>
        <p:spPr>
          <a:xfrm>
            <a:off x="92" y="89"/>
            <a:ext cx="2082799" cy="1562101"/>
          </a:xfrm>
          <a:prstGeom prst="rect">
            <a:avLst/>
          </a:prstGeom>
        </p:spPr>
      </p:pic>
      <p:pic>
        <p:nvPicPr>
          <p:cNvPr id="9" name="Picture 8" descr="_R6Q1344_RT.jp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82801" y="5295993"/>
            <a:ext cx="4978400" cy="156209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1200"/>
                    </a14:imgEffect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255" t="2111" r="26255" b="2111"/>
          <a:stretch/>
        </p:blipFill>
        <p:spPr>
          <a:xfrm>
            <a:off x="7061201" y="1562192"/>
            <a:ext cx="2082798" cy="3733801"/>
          </a:xfrm>
          <a:prstGeom prst="rect">
            <a:avLst/>
          </a:prstGeom>
        </p:spPr>
      </p:pic>
      <p:pic>
        <p:nvPicPr>
          <p:cNvPr id="11" name="Picture 10" descr="_R6Q5734_RT.jpg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1291" y="89"/>
            <a:ext cx="2082799" cy="1562101"/>
          </a:xfrm>
          <a:prstGeom prst="rect">
            <a:avLst/>
          </a:prstGeom>
        </p:spPr>
      </p:pic>
      <p:pic>
        <p:nvPicPr>
          <p:cNvPr id="12" name="Picture 11" descr="_R6Q0887_RT.jp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295993"/>
            <a:ext cx="2082800" cy="1562097"/>
          </a:xfrm>
          <a:prstGeom prst="rect">
            <a:avLst/>
          </a:prstGeom>
        </p:spPr>
      </p:pic>
      <p:pic>
        <p:nvPicPr>
          <p:cNvPr id="14" name="Picture 13" descr="17. North Coast Harbour Up Close Pano.jpg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72" r="13596"/>
          <a:stretch/>
        </p:blipFill>
        <p:spPr>
          <a:xfrm>
            <a:off x="2082891" y="9"/>
            <a:ext cx="4978401" cy="1558943"/>
          </a:xfrm>
          <a:prstGeom prst="rect">
            <a:avLst/>
          </a:prstGeom>
        </p:spPr>
      </p:pic>
      <p:pic>
        <p:nvPicPr>
          <p:cNvPr id="17" name="Picture 16" descr="Aerial 2.jpg"/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7234" b="6938"/>
          <a:stretch/>
        </p:blipFill>
        <p:spPr>
          <a:xfrm>
            <a:off x="7061291" y="5006622"/>
            <a:ext cx="2082799" cy="1851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753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543329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6152" y="120685"/>
            <a:ext cx="8483998" cy="184665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insert slide titl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36153" y="408641"/>
            <a:ext cx="8485586" cy="434736"/>
          </a:xfrm>
        </p:spPr>
        <p:txBody>
          <a:bodyPr>
            <a:noAutofit/>
          </a:bodyPr>
          <a:lstStyle>
            <a:lvl1pPr marL="1588" indent="-1588">
              <a:spcBef>
                <a:spcPts val="0"/>
              </a:spcBef>
              <a:buNone/>
              <a:defRPr sz="16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insert taglin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336211" y="1166861"/>
            <a:ext cx="8483997" cy="1415772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Click here and hit tab to type bulleted text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  <a:p>
            <a:pPr lvl="3"/>
            <a:r>
              <a:rPr lang="en-US" dirty="0"/>
              <a:t>Third level bullet</a:t>
            </a:r>
          </a:p>
          <a:p>
            <a:pPr lvl="4"/>
            <a:r>
              <a:rPr lang="en-US" dirty="0"/>
              <a:t>Fourth level bullet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1524232" y="6324069"/>
            <a:ext cx="7071129" cy="246221"/>
          </a:xfrm>
          <a:prstGeom prst="rect">
            <a:avLst/>
          </a:prstGeom>
        </p:spPr>
        <p:txBody>
          <a:bodyPr l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>
              <a:spcBef>
                <a:spcPts val="0"/>
              </a:spcBef>
              <a:buNone/>
              <a:defRPr sz="800"/>
            </a:lvl2pPr>
            <a:lvl3pPr>
              <a:spcBef>
                <a:spcPts val="0"/>
              </a:spcBef>
              <a:buNone/>
              <a:defRPr sz="800"/>
            </a:lvl3pPr>
            <a:lvl4pPr>
              <a:spcBef>
                <a:spcPts val="0"/>
              </a:spcBef>
              <a:buNone/>
              <a:defRPr sz="800"/>
            </a:lvl4pPr>
            <a:lvl5pPr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dirty="0"/>
              <a:t>Click to enter Notes and Sources: Arial 8 point, left and bottom aligned; no italics; align with bottom guide and left text border guide; select this shape and delete if not required</a:t>
            </a:r>
          </a:p>
        </p:txBody>
      </p:sp>
    </p:spTree>
    <p:extLst>
      <p:ext uri="{BB962C8B-B14F-4D97-AF65-F5344CB8AC3E}">
        <p14:creationId xmlns:p14="http://schemas.microsoft.com/office/powerpoint/2010/main" val="108111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3363" y="525189"/>
            <a:ext cx="7817453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0" b="1" i="0">
                <a:solidFill>
                  <a:srgbClr val="0C74CC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63274" y="2812207"/>
            <a:ext cx="462623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58595B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298555"/>
            <a:r>
              <a:rPr lang="en-US" sz="1200" smtClean="0">
                <a:solidFill>
                  <a:prstClr val="black">
                    <a:tint val="75000"/>
                  </a:prstClr>
                </a:solidFill>
              </a:rPr>
              <a:t>RT/OPICC                            ORC 4115 PRESENTATION                 JANUARY 2021                           </a:t>
            </a:r>
            <a:endParaRPr lang="en-US" sz="12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298555"/>
            <a:fld id="{FDB5DEAB-2670-4ECF-8981-4B65FAD3DDD0}" type="datetime1">
              <a:rPr lang="en-US" sz="1200" smtClean="0">
                <a:solidFill>
                  <a:prstClr val="black">
                    <a:tint val="75000"/>
                  </a:prstClr>
                </a:solidFill>
              </a:rPr>
              <a:t>4/1/2022</a:t>
            </a:fld>
            <a:endParaRPr lang="en-US" sz="12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298555"/>
            <a:fld id="{B6F15528-21DE-4FAA-801E-634DDDAF4B2B}" type="slidenum">
              <a:rPr lang="en-US" sz="1200" smtClean="0">
                <a:solidFill>
                  <a:prstClr val="black">
                    <a:tint val="75000"/>
                  </a:prstClr>
                </a:solidFill>
              </a:rPr>
              <a:pPr defTabSz="298555"/>
              <a:t>‹#›</a:t>
            </a:fld>
            <a:endParaRPr lang="en-US" sz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491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98555">
        <a:defRPr>
          <a:latin typeface="+mn-lt"/>
          <a:ea typeface="+mn-ea"/>
          <a:cs typeface="+mn-cs"/>
        </a:defRPr>
      </a:lvl2pPr>
      <a:lvl3pPr marL="597109">
        <a:defRPr>
          <a:latin typeface="+mn-lt"/>
          <a:ea typeface="+mn-ea"/>
          <a:cs typeface="+mn-cs"/>
        </a:defRPr>
      </a:lvl3pPr>
      <a:lvl4pPr marL="895664">
        <a:defRPr>
          <a:latin typeface="+mn-lt"/>
          <a:ea typeface="+mn-ea"/>
          <a:cs typeface="+mn-cs"/>
        </a:defRPr>
      </a:lvl4pPr>
      <a:lvl5pPr marL="1194217">
        <a:defRPr>
          <a:latin typeface="+mn-lt"/>
          <a:ea typeface="+mn-ea"/>
          <a:cs typeface="+mn-cs"/>
        </a:defRPr>
      </a:lvl5pPr>
      <a:lvl6pPr marL="1492769">
        <a:defRPr>
          <a:latin typeface="+mn-lt"/>
          <a:ea typeface="+mn-ea"/>
          <a:cs typeface="+mn-cs"/>
        </a:defRPr>
      </a:lvl6pPr>
      <a:lvl7pPr marL="1791324">
        <a:defRPr>
          <a:latin typeface="+mn-lt"/>
          <a:ea typeface="+mn-ea"/>
          <a:cs typeface="+mn-cs"/>
        </a:defRPr>
      </a:lvl7pPr>
      <a:lvl8pPr marL="2089879">
        <a:defRPr>
          <a:latin typeface="+mn-lt"/>
          <a:ea typeface="+mn-ea"/>
          <a:cs typeface="+mn-cs"/>
        </a:defRPr>
      </a:lvl8pPr>
      <a:lvl9pPr marL="238842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98555">
        <a:defRPr>
          <a:latin typeface="+mn-lt"/>
          <a:ea typeface="+mn-ea"/>
          <a:cs typeface="+mn-cs"/>
        </a:defRPr>
      </a:lvl2pPr>
      <a:lvl3pPr marL="597109">
        <a:defRPr>
          <a:latin typeface="+mn-lt"/>
          <a:ea typeface="+mn-ea"/>
          <a:cs typeface="+mn-cs"/>
        </a:defRPr>
      </a:lvl3pPr>
      <a:lvl4pPr marL="895664">
        <a:defRPr>
          <a:latin typeface="+mn-lt"/>
          <a:ea typeface="+mn-ea"/>
          <a:cs typeface="+mn-cs"/>
        </a:defRPr>
      </a:lvl4pPr>
      <a:lvl5pPr marL="1194217">
        <a:defRPr>
          <a:latin typeface="+mn-lt"/>
          <a:ea typeface="+mn-ea"/>
          <a:cs typeface="+mn-cs"/>
        </a:defRPr>
      </a:lvl5pPr>
      <a:lvl6pPr marL="1492769">
        <a:defRPr>
          <a:latin typeface="+mn-lt"/>
          <a:ea typeface="+mn-ea"/>
          <a:cs typeface="+mn-cs"/>
        </a:defRPr>
      </a:lvl6pPr>
      <a:lvl7pPr marL="1791324">
        <a:defRPr>
          <a:latin typeface="+mn-lt"/>
          <a:ea typeface="+mn-ea"/>
          <a:cs typeface="+mn-cs"/>
        </a:defRPr>
      </a:lvl7pPr>
      <a:lvl8pPr marL="2089879">
        <a:defRPr>
          <a:latin typeface="+mn-lt"/>
          <a:ea typeface="+mn-ea"/>
          <a:cs typeface="+mn-cs"/>
        </a:defRPr>
      </a:lvl8pPr>
      <a:lvl9pPr marL="2388429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088356" y="357436"/>
            <a:ext cx="6705600" cy="400110"/>
          </a:xfrm>
        </p:spPr>
        <p:txBody>
          <a:bodyPr/>
          <a:lstStyle/>
          <a:p>
            <a:pPr algn="ctr" eaLnBrk="1" hangingPunct="1"/>
            <a:r>
              <a:rPr lang="en-US" altLang="en-US" sz="2600" b="1" dirty="0" smtClean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en-US" altLang="en-US" sz="2400" b="1" dirty="0" smtClean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APPRENTICES/TRAINEES REQUIREMENTS</a:t>
            </a:r>
            <a:endParaRPr lang="en-US" altLang="en-US" sz="2400" b="1" dirty="0">
              <a:solidFill>
                <a:srgbClr val="0070C0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245" name="Picture 11" descr="CLE HopkinsLogo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2400"/>
            <a:ext cx="1890713" cy="1179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152400" y="1331913"/>
            <a:ext cx="8839200" cy="17016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Footer Placeholder 2"/>
          <p:cNvSpPr>
            <a:spLocks noGrp="1"/>
          </p:cNvSpPr>
          <p:nvPr>
            <p:ph type="ftr" sz="quarter" idx="5"/>
          </p:nvPr>
        </p:nvSpPr>
        <p:spPr>
          <a:xfrm>
            <a:off x="1295400" y="6377940"/>
            <a:ext cx="6781800" cy="276999"/>
          </a:xfrm>
        </p:spPr>
        <p:txBody>
          <a:bodyPr/>
          <a:lstStyle/>
          <a:p>
            <a:r>
              <a:rPr lang="en-US" sz="1200" dirty="0" smtClean="0">
                <a:solidFill>
                  <a:prstClr val="black">
                    <a:tint val="75000"/>
                  </a:prstClr>
                </a:solidFill>
              </a:rPr>
              <a:t>RT/OPICC                            ORC 4115 PRESENTATION                 JANUARY 2021                           </a:t>
            </a:r>
            <a:endParaRPr lang="en-US" sz="12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/>
          <a:srcRect l="26415" t="14147" r="25472" b="6845"/>
          <a:stretch/>
        </p:blipFill>
        <p:spPr>
          <a:xfrm>
            <a:off x="3657600" y="944175"/>
            <a:ext cx="3846626" cy="543711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505283" y="2199484"/>
            <a:ext cx="25146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200" dirty="0" smtClean="0">
                <a:latin typeface="Georgia" panose="02040502050405020303" pitchFamily="18" charset="0"/>
              </a:rPr>
              <a:t>1.  </a:t>
            </a:r>
            <a:r>
              <a:rPr lang="en-US" sz="2200" dirty="0" smtClean="0">
                <a:latin typeface="Georgia" panose="02040502050405020303" pitchFamily="18" charset="0"/>
              </a:rPr>
              <a:t>Apprenticeship </a:t>
            </a:r>
            <a:r>
              <a:rPr lang="en-US" sz="2200" dirty="0">
                <a:latin typeface="Georgia" panose="02040502050405020303" pitchFamily="18" charset="0"/>
              </a:rPr>
              <a:t>Agreement</a:t>
            </a:r>
          </a:p>
        </p:txBody>
      </p:sp>
    </p:spTree>
    <p:extLst>
      <p:ext uri="{BB962C8B-B14F-4D97-AF65-F5344CB8AC3E}">
        <p14:creationId xmlns:p14="http://schemas.microsoft.com/office/powerpoint/2010/main" val="51892797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088356" y="357436"/>
            <a:ext cx="6705600" cy="400110"/>
          </a:xfrm>
        </p:spPr>
        <p:txBody>
          <a:bodyPr/>
          <a:lstStyle/>
          <a:p>
            <a:pPr algn="ctr" eaLnBrk="1" hangingPunct="1"/>
            <a:r>
              <a:rPr lang="en-US" altLang="en-US" sz="2600" b="1" dirty="0" smtClean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en-US" altLang="en-US" sz="2400" b="1" dirty="0" smtClean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APPRENTICES/TRAINEES REQUIREMENTS</a:t>
            </a:r>
            <a:endParaRPr lang="en-US" altLang="en-US" sz="2400" b="1" dirty="0">
              <a:solidFill>
                <a:srgbClr val="0070C0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245" name="Picture 11" descr="CLE HopkinsLogo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2400"/>
            <a:ext cx="1890713" cy="1179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152400" y="1331913"/>
            <a:ext cx="8839200" cy="17016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Footer Placeholder 2"/>
          <p:cNvSpPr>
            <a:spLocks noGrp="1"/>
          </p:cNvSpPr>
          <p:nvPr>
            <p:ph type="ftr" sz="quarter" idx="5"/>
          </p:nvPr>
        </p:nvSpPr>
        <p:spPr>
          <a:xfrm>
            <a:off x="1295400" y="6377940"/>
            <a:ext cx="6781800" cy="276999"/>
          </a:xfrm>
        </p:spPr>
        <p:txBody>
          <a:bodyPr/>
          <a:lstStyle/>
          <a:p>
            <a:r>
              <a:rPr lang="en-US" sz="1200" dirty="0" smtClean="0">
                <a:solidFill>
                  <a:prstClr val="black">
                    <a:tint val="75000"/>
                  </a:prstClr>
                </a:solidFill>
              </a:rPr>
              <a:t>RT/OPICC                            ORC 4115 PRESENTATION                 JANUARY 2021                           </a:t>
            </a:r>
            <a:endParaRPr lang="en-US" sz="12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/>
          <a:srcRect l="25625" t="11535" r="21250" b="5652"/>
          <a:stretch/>
        </p:blipFill>
        <p:spPr>
          <a:xfrm>
            <a:off x="4221480" y="915559"/>
            <a:ext cx="4724400" cy="5279554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533400" y="2133600"/>
            <a:ext cx="295227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4570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2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</a:rPr>
              <a:t>2.  </a:t>
            </a:r>
            <a:r>
              <a:rPr kumimoji="0" lang="en-US" sz="22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</a:rPr>
              <a:t>APPROVED</a:t>
            </a:r>
            <a:r>
              <a:rPr kumimoji="0" lang="en-US" sz="220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</a:rPr>
              <a:t> by the Ohio State Apprentice </a:t>
            </a:r>
            <a:r>
              <a:rPr lang="en-US" sz="2200" dirty="0" smtClean="0">
                <a:solidFill>
                  <a:prstClr val="black"/>
                </a:solidFill>
                <a:latin typeface="Georgia" panose="02040502050405020303" pitchFamily="18" charset="0"/>
              </a:rPr>
              <a:t>Council </a:t>
            </a:r>
            <a:endParaRPr kumimoji="0" lang="en-US" sz="2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19068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300B3D387130547A82921EA97AC7CE3" ma:contentTypeVersion="8" ma:contentTypeDescription="Create a new document." ma:contentTypeScope="" ma:versionID="4223f4ed5c61af882dece1e8051eb4a3">
  <xsd:schema xmlns:xsd="http://www.w3.org/2001/XMLSchema" xmlns:xs="http://www.w3.org/2001/XMLSchema" xmlns:p="http://schemas.microsoft.com/office/2006/metadata/properties" xmlns:ns3="5682b2a6-bf27-4285-96b6-5b8cd24a01cb" targetNamespace="http://schemas.microsoft.com/office/2006/metadata/properties" ma:root="true" ma:fieldsID="f579975c847f05909bdaf45c52c36d37" ns3:_="">
    <xsd:import namespace="5682b2a6-bf27-4285-96b6-5b8cd24a01c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82b2a6-bf27-4285-96b6-5b8cd24a01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C319320-9DFC-4666-8B22-72F33BFEFA9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3226D0D-50BF-414F-AAD7-5956587ACF49}">
  <ds:schemaRefs>
    <ds:schemaRef ds:uri="http://schemas.microsoft.com/office/2006/documentManagement/types"/>
    <ds:schemaRef ds:uri="http://purl.org/dc/elements/1.1/"/>
    <ds:schemaRef ds:uri="http://purl.org/dc/dcmitype/"/>
    <ds:schemaRef ds:uri="http://schemas.microsoft.com/office/2006/metadata/properties"/>
    <ds:schemaRef ds:uri="http://www.w3.org/XML/1998/namespace"/>
    <ds:schemaRef ds:uri="5682b2a6-bf27-4285-96b6-5b8cd24a01cb"/>
    <ds:schemaRef ds:uri="http://purl.org/dc/terms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257CEEE1-90C7-4E02-A10D-8EB69E9A87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682b2a6-bf27-4285-96b6-5b8cd24a01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293</TotalTime>
  <Words>35</Words>
  <Application>Microsoft Office PowerPoint</Application>
  <PresentationFormat>On-screen Show (4:3)</PresentationFormat>
  <Paragraphs>10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Arial Black</vt:lpstr>
      <vt:lpstr>Calibri</vt:lpstr>
      <vt:lpstr>Georgia</vt:lpstr>
      <vt:lpstr>Tahoma</vt:lpstr>
      <vt:lpstr>9_Office Theme</vt:lpstr>
      <vt:lpstr>think-cell Slide</vt:lpstr>
      <vt:lpstr> APPRENTICES/TRAINEES REQUIREMENTS</vt:lpstr>
      <vt:lpstr> APPRENTICES/TRAINEES REQUIREMEN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Headline Sub-headline</dc:title>
  <dc:creator>Payne, Todd</dc:creator>
  <cp:lastModifiedBy>Turner, Rosita</cp:lastModifiedBy>
  <cp:revision>233</cp:revision>
  <cp:lastPrinted>2019-07-05T18:49:44Z</cp:lastPrinted>
  <dcterms:created xsi:type="dcterms:W3CDTF">2017-08-30T20:50:54Z</dcterms:created>
  <dcterms:modified xsi:type="dcterms:W3CDTF">2022-04-01T17:48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300B3D387130547A82921EA97AC7CE3</vt:lpwstr>
  </property>
</Properties>
</file>